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269" r:id="rId3"/>
    <p:sldId id="258" r:id="rId4"/>
    <p:sldId id="270" r:id="rId5"/>
    <p:sldId id="282" r:id="rId6"/>
    <p:sldId id="279" r:id="rId7"/>
    <p:sldId id="284" r:id="rId8"/>
    <p:sldId id="278" r:id="rId9"/>
    <p:sldId id="277" r:id="rId10"/>
    <p:sldId id="283" r:id="rId11"/>
    <p:sldId id="285" r:id="rId12"/>
    <p:sldId id="286" r:id="rId13"/>
    <p:sldId id="281" r:id="rId14"/>
    <p:sldId id="276" r:id="rId15"/>
    <p:sldId id="275" r:id="rId16"/>
    <p:sldId id="274" r:id="rId17"/>
    <p:sldId id="261" r:id="rId18"/>
    <p:sldId id="271" r:id="rId19"/>
    <p:sldId id="272" r:id="rId20"/>
    <p:sldId id="273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42D3E"/>
    <a:srgbClr val="2E3744"/>
    <a:srgbClr val="E8B30A"/>
    <a:srgbClr val="262C3E"/>
    <a:srgbClr val="E0B900"/>
    <a:srgbClr val="E2B905"/>
    <a:srgbClr val="AD6B52"/>
    <a:srgbClr val="867167"/>
    <a:srgbClr val="6E64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3" autoAdjust="0"/>
    <p:restoredTop sz="96005" autoAdjust="0"/>
  </p:normalViewPr>
  <p:slideViewPr>
    <p:cSldViewPr snapToGrid="0">
      <p:cViewPr varScale="1">
        <p:scale>
          <a:sx n="54" d="100"/>
          <a:sy n="54" d="100"/>
        </p:scale>
        <p:origin x="82" y="6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0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4676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56690" y="4902485"/>
            <a:ext cx="5956734" cy="41653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262C3E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56690" y="5561753"/>
            <a:ext cx="376130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56690" y="5880048"/>
            <a:ext cx="376130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A139E7A8-DC53-4B63-9B51-63421FA487BF}"/>
              </a:ext>
            </a:extLst>
          </p:cNvPr>
          <p:cNvSpPr/>
          <p:nvPr userDrawn="1"/>
        </p:nvSpPr>
        <p:spPr>
          <a:xfrm>
            <a:off x="2698237" y="1"/>
            <a:ext cx="9493763" cy="6137275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EC89932C-CD00-414B-8A2F-C2332DC95551}"/>
              </a:ext>
            </a:extLst>
          </p:cNvPr>
          <p:cNvSpPr/>
          <p:nvPr userDrawn="1"/>
        </p:nvSpPr>
        <p:spPr>
          <a:xfrm>
            <a:off x="0" y="0"/>
            <a:ext cx="5648494" cy="3653606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3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0BA419B2-F987-4214-BCCC-340036588EB6}"/>
              </a:ext>
            </a:extLst>
          </p:cNvPr>
          <p:cNvSpPr/>
          <p:nvPr userDrawn="1"/>
        </p:nvSpPr>
        <p:spPr>
          <a:xfrm>
            <a:off x="0" y="-12477"/>
            <a:ext cx="5648494" cy="3488923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56691" y="3180563"/>
            <a:ext cx="4648328" cy="1721922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rgbClr val="262C3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CDA851A6-0D84-47BC-B09A-8FAE01198049}"/>
              </a:ext>
            </a:extLst>
          </p:cNvPr>
          <p:cNvSpPr/>
          <p:nvPr userDrawn="1"/>
        </p:nvSpPr>
        <p:spPr>
          <a:xfrm rot="5400000" flipV="1">
            <a:off x="-294757" y="341892"/>
            <a:ext cx="3166284" cy="2482500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955266" y="2798230"/>
            <a:ext cx="455043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956381" y="3702677"/>
            <a:ext cx="4548753" cy="895350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6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50A8ABFC-55AA-49B7-B962-53EB615ED1D2}"/>
              </a:ext>
            </a:extLst>
          </p:cNvPr>
          <p:cNvSpPr/>
          <p:nvPr userDrawn="1"/>
        </p:nvSpPr>
        <p:spPr>
          <a:xfrm rot="5400000" flipV="1">
            <a:off x="-350432" y="350432"/>
            <a:ext cx="3071465" cy="2370601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6"/>
              </a:solidFill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2E62B0A0-C07D-4961-920F-175C13E1144E}"/>
              </a:ext>
            </a:extLst>
          </p:cNvPr>
          <p:cNvSpPr/>
          <p:nvPr userDrawn="1"/>
        </p:nvSpPr>
        <p:spPr>
          <a:xfrm rot="5400000" flipV="1">
            <a:off x="-563587" y="3415969"/>
            <a:ext cx="4082440" cy="2955266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3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0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0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1B1A5C1-7A64-4558-8D7A-D7AF3C42FA8A}"/>
              </a:ext>
            </a:extLst>
          </p:cNvPr>
          <p:cNvSpPr/>
          <p:nvPr userDrawn="1"/>
        </p:nvSpPr>
        <p:spPr>
          <a:xfrm>
            <a:off x="0" y="30730"/>
            <a:ext cx="12191999" cy="6827270"/>
          </a:xfrm>
          <a:custGeom>
            <a:avLst/>
            <a:gdLst>
              <a:gd name="connsiteX0" fmla="*/ 0 w 12191999"/>
              <a:gd name="connsiteY0" fmla="*/ 0 h 6827270"/>
              <a:gd name="connsiteX1" fmla="*/ 12191999 w 12191999"/>
              <a:gd name="connsiteY1" fmla="*/ 4831914 h 6827270"/>
              <a:gd name="connsiteX2" fmla="*/ 12191999 w 12191999"/>
              <a:gd name="connsiteY2" fmla="*/ 6827270 h 6827270"/>
              <a:gd name="connsiteX3" fmla="*/ 0 w 12191999"/>
              <a:gd name="connsiteY3" fmla="*/ 6827270 h 6827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27270">
                <a:moveTo>
                  <a:pt x="0" y="0"/>
                </a:moveTo>
                <a:lnTo>
                  <a:pt x="12191999" y="4831914"/>
                </a:lnTo>
                <a:lnTo>
                  <a:pt x="12191999" y="6827270"/>
                </a:lnTo>
                <a:lnTo>
                  <a:pt x="0" y="6827270"/>
                </a:lnTo>
                <a:close/>
              </a:path>
            </a:pathLst>
          </a:custGeom>
          <a:solidFill>
            <a:srgbClr val="2E3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55196" y="2581384"/>
            <a:ext cx="5040804" cy="1473453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55196" y="4908997"/>
            <a:ext cx="50408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196" y="4612726"/>
            <a:ext cx="504080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6F8C0034-9007-403E-A28B-4739D076DCF2}"/>
              </a:ext>
            </a:extLst>
          </p:cNvPr>
          <p:cNvSpPr/>
          <p:nvPr userDrawn="1"/>
        </p:nvSpPr>
        <p:spPr>
          <a:xfrm>
            <a:off x="5308978" y="1"/>
            <a:ext cx="6883021" cy="4826657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1/0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hyperlink" Target="https://www.islide.cc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382014" y="6365822"/>
            <a:ext cx="2047986" cy="296272"/>
          </a:xfrm>
        </p:spPr>
        <p:txBody>
          <a:bodyPr>
            <a:normAutofit fontScale="85000" lnSpcReduction="20000"/>
          </a:bodyPr>
          <a:lstStyle/>
          <a:p>
            <a:r>
              <a:rPr lang="en-US" altLang="zh-CN" dirty="0"/>
              <a:t>Cwolf9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640665" y="2857503"/>
            <a:ext cx="5672759" cy="1721922"/>
          </a:xfrm>
        </p:spPr>
        <p:txBody>
          <a:bodyPr/>
          <a:lstStyle/>
          <a:p>
            <a:r>
              <a:rPr lang="en-US" altLang="zh-CN" sz="6600" dirty="0"/>
              <a:t>STL</a:t>
            </a:r>
            <a:r>
              <a:rPr lang="zh-CN" altLang="en-US" sz="6600" dirty="0"/>
              <a:t>讲解</a:t>
            </a:r>
            <a:r>
              <a:rPr lang="en-US" altLang="zh-CN" sz="6600" dirty="0"/>
              <a:t>&amp;&amp;DP</a:t>
            </a:r>
            <a:r>
              <a:rPr lang="zh-CN" altLang="en-US" sz="6600" dirty="0"/>
              <a:t>入门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56565" y="5969539"/>
            <a:ext cx="3761306" cy="296271"/>
          </a:xfrm>
        </p:spPr>
        <p:txBody>
          <a:bodyPr/>
          <a:lstStyle/>
          <a:p>
            <a:r>
              <a:rPr lang="zh-CN" altLang="en-US" dirty="0"/>
              <a:t>长理</a:t>
            </a:r>
            <a:r>
              <a:rPr lang="en-US" altLang="zh-CN" dirty="0" err="1"/>
              <a:t>ACMore</a:t>
            </a:r>
            <a:r>
              <a:rPr lang="zh-CN" altLang="en-US" dirty="0"/>
              <a:t>协会</a:t>
            </a:r>
            <a:r>
              <a:rPr lang="en-US" altLang="zh-CN" dirty="0"/>
              <a:t>-ACM</a:t>
            </a:r>
            <a:r>
              <a:rPr lang="zh-CN" altLang="en-US" dirty="0"/>
              <a:t>集训队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6565" y="6365823"/>
            <a:ext cx="3761305" cy="296271"/>
          </a:xfrm>
        </p:spPr>
        <p:txBody>
          <a:bodyPr/>
          <a:lstStyle/>
          <a:p>
            <a:r>
              <a:rPr lang="en-US" altLang="en-US" dirty="0"/>
              <a:t>http://csustacm.com:4803/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</a:t>
            </a:r>
            <a:r>
              <a:rPr lang="zh-CN" altLang="en-US" dirty="0"/>
              <a:t>相关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EED037-3A17-49B6-B9FB-B434E209FD07}"/>
              </a:ext>
            </a:extLst>
          </p:cNvPr>
          <p:cNvSpPr txBox="1"/>
          <p:nvPr/>
        </p:nvSpPr>
        <p:spPr>
          <a:xfrm>
            <a:off x="1457325" y="2157413"/>
            <a:ext cx="299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ap&lt;string, int&gt;:: iterator it;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02434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</a:t>
            </a:r>
            <a:r>
              <a:rPr lang="en-US" altLang="zh-CN"/>
              <a:t>et</a:t>
            </a:r>
            <a:r>
              <a:rPr lang="zh-CN" altLang="en-US" dirty="0"/>
              <a:t>相关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D6D94EE-66AD-4047-9945-016D0F5DADDB}"/>
              </a:ext>
            </a:extLst>
          </p:cNvPr>
          <p:cNvSpPr txBox="1"/>
          <p:nvPr/>
        </p:nvSpPr>
        <p:spPr>
          <a:xfrm>
            <a:off x="1328738" y="2328863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et&lt;int&gt;:: iterator it;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164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算法</a:t>
            </a:r>
            <a:r>
              <a:rPr lang="en-US" altLang="zh-CN" dirty="0"/>
              <a:t>&lt;algorithm&gt;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440B957-F0F8-4C25-A6B7-289827CB4D76}"/>
              </a:ext>
            </a:extLst>
          </p:cNvPr>
          <p:cNvSpPr txBox="1"/>
          <p:nvPr/>
        </p:nvSpPr>
        <p:spPr>
          <a:xfrm>
            <a:off x="669924" y="1485900"/>
            <a:ext cx="877355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accumulate</a:t>
            </a:r>
            <a:r>
              <a:rPr lang="zh-CN" altLang="en-US" sz="2400" dirty="0"/>
              <a:t>累加序列地所有元素</a:t>
            </a:r>
            <a:endParaRPr lang="en-US" altLang="zh-CN" sz="2400" dirty="0"/>
          </a:p>
          <a:p>
            <a:r>
              <a:rPr lang="en-US" altLang="zh-CN" sz="2400" dirty="0" err="1"/>
              <a:t>next_permutation</a:t>
            </a:r>
            <a:r>
              <a:rPr lang="zh-CN" altLang="en-US" sz="2400" dirty="0"/>
              <a:t>依照字典序生成序列地下一个稍大的排列</a:t>
            </a:r>
            <a:endParaRPr lang="en-US" altLang="zh-CN" sz="2400" dirty="0"/>
          </a:p>
          <a:p>
            <a:r>
              <a:rPr lang="en-US" altLang="zh-CN" sz="2400" dirty="0"/>
              <a:t>reverse</a:t>
            </a:r>
            <a:r>
              <a:rPr lang="zh-CN" altLang="en-US" sz="2400" dirty="0"/>
              <a:t>将给定序列反转顺序</a:t>
            </a:r>
            <a:endParaRPr lang="en-US" altLang="zh-CN" sz="2400" dirty="0"/>
          </a:p>
          <a:p>
            <a:r>
              <a:rPr lang="en-US" altLang="zh-CN" sz="2400" dirty="0"/>
              <a:t>unique</a:t>
            </a:r>
            <a:r>
              <a:rPr lang="zh-CN" altLang="en-US" sz="2400" dirty="0"/>
              <a:t>移除连续的重复元素</a:t>
            </a:r>
            <a:endParaRPr lang="en-US" altLang="zh-CN" sz="2400" dirty="0"/>
          </a:p>
          <a:p>
            <a:r>
              <a:rPr lang="en-US" altLang="zh-CN" sz="2400" dirty="0" err="1"/>
              <a:t>lower_bound</a:t>
            </a:r>
            <a:r>
              <a:rPr lang="zh-CN" altLang="en-US" sz="2400" dirty="0"/>
              <a:t>查找第一个插入元素但不影响序列有序性的位置</a:t>
            </a:r>
            <a:endParaRPr lang="en-US" altLang="zh-CN" sz="2400" dirty="0"/>
          </a:p>
          <a:p>
            <a:r>
              <a:rPr lang="en-US" altLang="zh-CN" sz="2400" dirty="0" err="1"/>
              <a:t>upper_bound</a:t>
            </a:r>
            <a:r>
              <a:rPr lang="zh-CN" altLang="en-US" sz="2400" dirty="0"/>
              <a:t>搜索最后一个插入元素并能维持序列有序性的位置</a:t>
            </a:r>
          </a:p>
        </p:txBody>
      </p:sp>
    </p:spTree>
    <p:extLst>
      <p:ext uri="{BB962C8B-B14F-4D97-AF65-F5344CB8AC3E}">
        <p14:creationId xmlns:p14="http://schemas.microsoft.com/office/powerpoint/2010/main" val="23516850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3603980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DP</a:t>
            </a:r>
            <a:r>
              <a:rPr lang="zh-CN" altLang="en-US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入门</a:t>
            </a:r>
          </a:p>
        </p:txBody>
      </p:sp>
    </p:spTree>
    <p:extLst>
      <p:ext uri="{BB962C8B-B14F-4D97-AF65-F5344CB8AC3E}">
        <p14:creationId xmlns:p14="http://schemas.microsoft.com/office/powerpoint/2010/main" val="5773506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"Title Only" Layou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68487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0767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5118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83721" y="1852722"/>
            <a:ext cx="5040804" cy="1473453"/>
          </a:xfrm>
        </p:spPr>
        <p:txBody>
          <a:bodyPr>
            <a:normAutofit/>
          </a:bodyPr>
          <a:lstStyle/>
          <a:p>
            <a:r>
              <a:rPr lang="en-US" altLang="zh-CN" sz="8000" dirty="0"/>
              <a:t>Thanks</a:t>
            </a:r>
            <a:endParaRPr lang="zh-CN" altLang="en-US" sz="80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69371" y="6423472"/>
            <a:ext cx="5040804" cy="310871"/>
          </a:xfrm>
        </p:spPr>
        <p:txBody>
          <a:bodyPr/>
          <a:lstStyle/>
          <a:p>
            <a:r>
              <a:rPr lang="en-US" altLang="en-US" dirty="0"/>
              <a:t>http://csustacm.com:4803/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73094" y="6012901"/>
            <a:ext cx="5040804" cy="296271"/>
          </a:xfrm>
        </p:spPr>
        <p:txBody>
          <a:bodyPr/>
          <a:lstStyle/>
          <a:p>
            <a:r>
              <a:rPr lang="zh-CN" altLang="en-US" dirty="0"/>
              <a:t>长理</a:t>
            </a:r>
            <a:r>
              <a:rPr lang="en-US" altLang="zh-CN" dirty="0" err="1"/>
              <a:t>ACMore</a:t>
            </a:r>
            <a:r>
              <a:rPr lang="zh-CN" altLang="en-US" dirty="0"/>
              <a:t>协会</a:t>
            </a:r>
            <a:r>
              <a:rPr lang="en-US" altLang="zh-CN" dirty="0"/>
              <a:t>-ACM</a:t>
            </a:r>
            <a:r>
              <a:rPr lang="zh-CN" altLang="en-US" dirty="0"/>
              <a:t>集训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直接连接符 175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图形 16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ubtitle He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矩形 189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矩形 211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3418242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STL</a:t>
            </a:r>
            <a:r>
              <a:rPr lang="zh-CN" altLang="en-US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讲解</a:t>
            </a: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标准模板库</a:t>
            </a:r>
            <a:r>
              <a:rPr lang="en-US" altLang="zh-CN" dirty="0"/>
              <a:t>(Standard Template Library)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6BAB3C4-D8F4-483B-B246-C5677330F3CA}"/>
              </a:ext>
            </a:extLst>
          </p:cNvPr>
          <p:cNvSpPr txBox="1"/>
          <p:nvPr/>
        </p:nvSpPr>
        <p:spPr>
          <a:xfrm>
            <a:off x="669924" y="1566059"/>
            <a:ext cx="876733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      标准模板库</a:t>
            </a:r>
            <a:r>
              <a:rPr lang="en-US" altLang="zh-CN" sz="2800" dirty="0"/>
              <a:t>(Standard Template Library)</a:t>
            </a:r>
            <a:r>
              <a:rPr lang="zh-CN" altLang="en-US" sz="2800" dirty="0"/>
              <a:t>简称</a:t>
            </a:r>
            <a:r>
              <a:rPr lang="en-US" altLang="zh-CN" sz="2800" dirty="0"/>
              <a:t>STL</a:t>
            </a:r>
            <a:r>
              <a:rPr lang="zh-CN" altLang="en-US" sz="2800" dirty="0"/>
              <a:t>，</a:t>
            </a:r>
            <a:endParaRPr lang="en-US" altLang="zh-CN" sz="2800" dirty="0"/>
          </a:p>
          <a:p>
            <a:r>
              <a:rPr lang="zh-CN" altLang="en-US" sz="2800" dirty="0"/>
              <a:t>是</a:t>
            </a:r>
            <a:r>
              <a:rPr lang="en-US" altLang="zh-CN" sz="2800" dirty="0"/>
              <a:t>C++</a:t>
            </a:r>
            <a:r>
              <a:rPr lang="zh-CN" altLang="en-US" sz="2800" dirty="0"/>
              <a:t>最有特色、最实用的部分之一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CA9E86B-1A0F-43CB-998E-56116676D743}"/>
              </a:ext>
            </a:extLst>
          </p:cNvPr>
          <p:cNvSpPr txBox="1"/>
          <p:nvPr/>
        </p:nvSpPr>
        <p:spPr>
          <a:xfrm>
            <a:off x="669924" y="3043237"/>
            <a:ext cx="5032147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STL</a:t>
            </a:r>
            <a:r>
              <a:rPr lang="zh-CN" altLang="en-US" sz="3200" dirty="0"/>
              <a:t>包含：</a:t>
            </a:r>
            <a:endParaRPr lang="en-US" altLang="zh-CN" sz="3200" dirty="0"/>
          </a:p>
          <a:p>
            <a:r>
              <a:rPr lang="zh-CN" altLang="en-US" sz="3200" b="1" dirty="0"/>
              <a:t>容器</a:t>
            </a:r>
            <a:r>
              <a:rPr lang="en-US" altLang="zh-CN" sz="3200" b="1" dirty="0"/>
              <a:t>(container)</a:t>
            </a:r>
          </a:p>
          <a:p>
            <a:r>
              <a:rPr lang="zh-CN" altLang="en-US" sz="3200" b="1" dirty="0"/>
              <a:t>迭代器</a:t>
            </a:r>
            <a:r>
              <a:rPr lang="en-US" altLang="zh-CN" sz="3200" b="1" dirty="0"/>
              <a:t>(iterator)</a:t>
            </a:r>
          </a:p>
          <a:p>
            <a:r>
              <a:rPr lang="zh-CN" altLang="en-US" sz="3200" b="1" dirty="0"/>
              <a:t>算法</a:t>
            </a:r>
            <a:r>
              <a:rPr lang="en-US" altLang="zh-CN" sz="3200" b="1" dirty="0"/>
              <a:t>(algorithm)</a:t>
            </a:r>
          </a:p>
          <a:p>
            <a:r>
              <a:rPr lang="zh-CN" altLang="en-US" sz="3200" b="1" dirty="0"/>
              <a:t>函数对象</a:t>
            </a:r>
            <a:r>
              <a:rPr lang="en-US" altLang="zh-CN" sz="3200" b="1" dirty="0"/>
              <a:t>(function object)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932024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B6C43D-091A-4B49-BF7C-588E6444F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4D086F2-E80F-4523-9A59-0691D278E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0B95A4E-9617-43AA-B7A2-D602E93F3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11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C389490-EA88-4EE8-911D-F3C55C47D7E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1799" y="1503884"/>
            <a:ext cx="11186812" cy="4261394"/>
            <a:chOff x="556689" y="1492031"/>
            <a:chExt cx="11186812" cy="4261394"/>
          </a:xfrm>
        </p:grpSpPr>
        <p:sp>
          <p:nvSpPr>
            <p:cNvPr id="6" name="îṩľïḍé">
              <a:extLst>
                <a:ext uri="{FF2B5EF4-FFF2-40B4-BE49-F238E27FC236}">
                  <a16:creationId xmlns:a16="http://schemas.microsoft.com/office/drawing/2014/main" id="{AF13CF24-3123-4537-AE3F-F27E37D4316B}"/>
                </a:ext>
              </a:extLst>
            </p:cNvPr>
            <p:cNvSpPr/>
            <p:nvPr/>
          </p:nvSpPr>
          <p:spPr bwMode="auto">
            <a:xfrm>
              <a:off x="4912247" y="1797897"/>
              <a:ext cx="1222193" cy="1027959"/>
            </a:xfrm>
            <a:custGeom>
              <a:avLst/>
              <a:gdLst>
                <a:gd name="T0" fmla="*/ 1027 w 1027"/>
                <a:gd name="T1" fmla="*/ 612 h 864"/>
                <a:gd name="T2" fmla="*/ 1027 w 1027"/>
                <a:gd name="T3" fmla="*/ 0 h 864"/>
                <a:gd name="T4" fmla="*/ 0 w 1027"/>
                <a:gd name="T5" fmla="*/ 431 h 864"/>
                <a:gd name="T6" fmla="*/ 433 w 1027"/>
                <a:gd name="T7" fmla="*/ 864 h 864"/>
                <a:gd name="T8" fmla="*/ 1027 w 1027"/>
                <a:gd name="T9" fmla="*/ 612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7" h="864">
                  <a:moveTo>
                    <a:pt x="1027" y="612"/>
                  </a:moveTo>
                  <a:cubicBezTo>
                    <a:pt x="1027" y="0"/>
                    <a:pt x="1027" y="0"/>
                    <a:pt x="1027" y="0"/>
                  </a:cubicBezTo>
                  <a:cubicBezTo>
                    <a:pt x="625" y="0"/>
                    <a:pt x="261" y="165"/>
                    <a:pt x="0" y="431"/>
                  </a:cubicBezTo>
                  <a:cubicBezTo>
                    <a:pt x="433" y="864"/>
                    <a:pt x="433" y="864"/>
                    <a:pt x="433" y="864"/>
                  </a:cubicBezTo>
                  <a:cubicBezTo>
                    <a:pt x="583" y="709"/>
                    <a:pt x="794" y="612"/>
                    <a:pt x="1027" y="6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ïṣḷîḋe">
              <a:extLst>
                <a:ext uri="{FF2B5EF4-FFF2-40B4-BE49-F238E27FC236}">
                  <a16:creationId xmlns:a16="http://schemas.microsoft.com/office/drawing/2014/main" id="{9A802CE0-E697-4BB2-B902-34E6268A056C}"/>
                </a:ext>
              </a:extLst>
            </p:cNvPr>
            <p:cNvSpPr/>
            <p:nvPr/>
          </p:nvSpPr>
          <p:spPr bwMode="auto">
            <a:xfrm>
              <a:off x="4420901" y="2310641"/>
              <a:ext cx="1006560" cy="1200794"/>
            </a:xfrm>
            <a:custGeom>
              <a:avLst/>
              <a:gdLst>
                <a:gd name="T0" fmla="*/ 735 w 846"/>
                <a:gd name="T1" fmla="*/ 322 h 1009"/>
                <a:gd name="T2" fmla="*/ 792 w 846"/>
                <a:gd name="T3" fmla="*/ 199 h 1009"/>
                <a:gd name="T4" fmla="*/ 630 w 846"/>
                <a:gd name="T5" fmla="*/ 37 h 1009"/>
                <a:gd name="T6" fmla="*/ 507 w 846"/>
                <a:gd name="T7" fmla="*/ 94 h 1009"/>
                <a:gd name="T8" fmla="*/ 413 w 846"/>
                <a:gd name="T9" fmla="*/ 0 h 1009"/>
                <a:gd name="T10" fmla="*/ 0 w 846"/>
                <a:gd name="T11" fmla="*/ 1009 h 1009"/>
                <a:gd name="T12" fmla="*/ 612 w 846"/>
                <a:gd name="T13" fmla="*/ 1009 h 1009"/>
                <a:gd name="T14" fmla="*/ 846 w 846"/>
                <a:gd name="T15" fmla="*/ 433 h 1009"/>
                <a:gd name="T16" fmla="*/ 735 w 846"/>
                <a:gd name="T17" fmla="*/ 322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6" h="1009">
                  <a:moveTo>
                    <a:pt x="735" y="322"/>
                  </a:moveTo>
                  <a:cubicBezTo>
                    <a:pt x="770" y="293"/>
                    <a:pt x="792" y="249"/>
                    <a:pt x="792" y="199"/>
                  </a:cubicBezTo>
                  <a:cubicBezTo>
                    <a:pt x="792" y="110"/>
                    <a:pt x="720" y="37"/>
                    <a:pt x="630" y="37"/>
                  </a:cubicBezTo>
                  <a:cubicBezTo>
                    <a:pt x="581" y="37"/>
                    <a:pt x="537" y="59"/>
                    <a:pt x="507" y="94"/>
                  </a:cubicBezTo>
                  <a:cubicBezTo>
                    <a:pt x="413" y="0"/>
                    <a:pt x="413" y="0"/>
                    <a:pt x="413" y="0"/>
                  </a:cubicBezTo>
                  <a:cubicBezTo>
                    <a:pt x="158" y="260"/>
                    <a:pt x="0" y="616"/>
                    <a:pt x="0" y="1009"/>
                  </a:cubicBezTo>
                  <a:cubicBezTo>
                    <a:pt x="612" y="1009"/>
                    <a:pt x="612" y="1009"/>
                    <a:pt x="612" y="1009"/>
                  </a:cubicBezTo>
                  <a:cubicBezTo>
                    <a:pt x="612" y="785"/>
                    <a:pt x="701" y="582"/>
                    <a:pt x="846" y="433"/>
                  </a:cubicBezTo>
                  <a:lnTo>
                    <a:pt x="735" y="3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Sḻïďè">
              <a:extLst>
                <a:ext uri="{FF2B5EF4-FFF2-40B4-BE49-F238E27FC236}">
                  <a16:creationId xmlns:a16="http://schemas.microsoft.com/office/drawing/2014/main" id="{AFE494C7-8BAB-4321-843B-E0951DF071A8}"/>
                </a:ext>
              </a:extLst>
            </p:cNvPr>
            <p:cNvSpPr/>
            <p:nvPr/>
          </p:nvSpPr>
          <p:spPr bwMode="auto">
            <a:xfrm>
              <a:off x="4420901" y="3339423"/>
              <a:ext cx="1017259" cy="1384328"/>
            </a:xfrm>
            <a:custGeom>
              <a:avLst/>
              <a:gdLst>
                <a:gd name="T0" fmla="*/ 612 w 855"/>
                <a:gd name="T1" fmla="*/ 144 h 1163"/>
                <a:gd name="T2" fmla="*/ 467 w 855"/>
                <a:gd name="T3" fmla="*/ 144 h 1163"/>
                <a:gd name="T4" fmla="*/ 306 w 855"/>
                <a:gd name="T5" fmla="*/ 0 h 1163"/>
                <a:gd name="T6" fmla="*/ 145 w 855"/>
                <a:gd name="T7" fmla="*/ 144 h 1163"/>
                <a:gd name="T8" fmla="*/ 0 w 855"/>
                <a:gd name="T9" fmla="*/ 144 h 1163"/>
                <a:gd name="T10" fmla="*/ 422 w 855"/>
                <a:gd name="T11" fmla="*/ 1163 h 1163"/>
                <a:gd name="T12" fmla="*/ 855 w 855"/>
                <a:gd name="T13" fmla="*/ 730 h 1163"/>
                <a:gd name="T14" fmla="*/ 612 w 855"/>
                <a:gd name="T15" fmla="*/ 144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5" h="1163">
                  <a:moveTo>
                    <a:pt x="612" y="144"/>
                  </a:moveTo>
                  <a:cubicBezTo>
                    <a:pt x="467" y="144"/>
                    <a:pt x="467" y="144"/>
                    <a:pt x="467" y="144"/>
                  </a:cubicBezTo>
                  <a:cubicBezTo>
                    <a:pt x="458" y="63"/>
                    <a:pt x="389" y="0"/>
                    <a:pt x="306" y="0"/>
                  </a:cubicBezTo>
                  <a:cubicBezTo>
                    <a:pt x="223" y="0"/>
                    <a:pt x="154" y="63"/>
                    <a:pt x="145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542"/>
                    <a:pt x="161" y="902"/>
                    <a:pt x="422" y="1163"/>
                  </a:cubicBezTo>
                  <a:cubicBezTo>
                    <a:pt x="855" y="730"/>
                    <a:pt x="855" y="730"/>
                    <a:pt x="855" y="730"/>
                  </a:cubicBezTo>
                  <a:cubicBezTo>
                    <a:pt x="705" y="580"/>
                    <a:pt x="612" y="373"/>
                    <a:pt x="612" y="14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ślïḋè">
              <a:extLst>
                <a:ext uri="{FF2B5EF4-FFF2-40B4-BE49-F238E27FC236}">
                  <a16:creationId xmlns:a16="http://schemas.microsoft.com/office/drawing/2014/main" id="{A9E5857A-A540-4474-8AF3-ED2A6CF0C7EC}"/>
                </a:ext>
              </a:extLst>
            </p:cNvPr>
            <p:cNvSpPr/>
            <p:nvPr/>
          </p:nvSpPr>
          <p:spPr bwMode="auto">
            <a:xfrm>
              <a:off x="4922946" y="4208538"/>
              <a:ext cx="1211493" cy="1016436"/>
            </a:xfrm>
            <a:custGeom>
              <a:avLst/>
              <a:gdLst>
                <a:gd name="T0" fmla="*/ 433 w 1018"/>
                <a:gd name="T1" fmla="*/ 0 h 854"/>
                <a:gd name="T2" fmla="*/ 323 w 1018"/>
                <a:gd name="T3" fmla="*/ 110 h 854"/>
                <a:gd name="T4" fmla="*/ 208 w 1018"/>
                <a:gd name="T5" fmla="*/ 62 h 854"/>
                <a:gd name="T6" fmla="*/ 46 w 1018"/>
                <a:gd name="T7" fmla="*/ 224 h 854"/>
                <a:gd name="T8" fmla="*/ 94 w 1018"/>
                <a:gd name="T9" fmla="*/ 339 h 854"/>
                <a:gd name="T10" fmla="*/ 0 w 1018"/>
                <a:gd name="T11" fmla="*/ 433 h 854"/>
                <a:gd name="T12" fmla="*/ 1018 w 1018"/>
                <a:gd name="T13" fmla="*/ 854 h 854"/>
                <a:gd name="T14" fmla="*/ 1018 w 1018"/>
                <a:gd name="T15" fmla="*/ 242 h 854"/>
                <a:gd name="T16" fmla="*/ 433 w 1018"/>
                <a:gd name="T17" fmla="*/ 0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" h="854">
                  <a:moveTo>
                    <a:pt x="433" y="0"/>
                  </a:moveTo>
                  <a:cubicBezTo>
                    <a:pt x="323" y="110"/>
                    <a:pt x="323" y="110"/>
                    <a:pt x="323" y="110"/>
                  </a:cubicBezTo>
                  <a:cubicBezTo>
                    <a:pt x="293" y="80"/>
                    <a:pt x="253" y="62"/>
                    <a:pt x="208" y="62"/>
                  </a:cubicBezTo>
                  <a:cubicBezTo>
                    <a:pt x="119" y="62"/>
                    <a:pt x="46" y="135"/>
                    <a:pt x="46" y="224"/>
                  </a:cubicBezTo>
                  <a:cubicBezTo>
                    <a:pt x="46" y="269"/>
                    <a:pt x="64" y="310"/>
                    <a:pt x="94" y="339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260" y="693"/>
                    <a:pt x="620" y="854"/>
                    <a:pt x="1018" y="854"/>
                  </a:cubicBezTo>
                  <a:cubicBezTo>
                    <a:pt x="1018" y="242"/>
                    <a:pt x="1018" y="242"/>
                    <a:pt x="1018" y="242"/>
                  </a:cubicBezTo>
                  <a:cubicBezTo>
                    <a:pt x="789" y="242"/>
                    <a:pt x="582" y="150"/>
                    <a:pt x="4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ş1íḓe">
              <a:extLst>
                <a:ext uri="{FF2B5EF4-FFF2-40B4-BE49-F238E27FC236}">
                  <a16:creationId xmlns:a16="http://schemas.microsoft.com/office/drawing/2014/main" id="{422CEF2B-FF5D-4EB9-B653-07532B53DFC3}"/>
                </a:ext>
              </a:extLst>
            </p:cNvPr>
            <p:cNvSpPr/>
            <p:nvPr/>
          </p:nvSpPr>
          <p:spPr bwMode="auto">
            <a:xfrm>
              <a:off x="5920453" y="4219237"/>
              <a:ext cx="1414780" cy="1005737"/>
            </a:xfrm>
            <a:custGeom>
              <a:avLst/>
              <a:gdLst>
                <a:gd name="T0" fmla="*/ 1189 w 1189"/>
                <a:gd name="T1" fmla="*/ 433 h 845"/>
                <a:gd name="T2" fmla="*/ 756 w 1189"/>
                <a:gd name="T3" fmla="*/ 0 h 845"/>
                <a:gd name="T4" fmla="*/ 180 w 1189"/>
                <a:gd name="T5" fmla="*/ 233 h 845"/>
                <a:gd name="T6" fmla="*/ 180 w 1189"/>
                <a:gd name="T7" fmla="*/ 378 h 845"/>
                <a:gd name="T8" fmla="*/ 162 w 1189"/>
                <a:gd name="T9" fmla="*/ 377 h 845"/>
                <a:gd name="T10" fmla="*/ 0 w 1189"/>
                <a:gd name="T11" fmla="*/ 539 h 845"/>
                <a:gd name="T12" fmla="*/ 162 w 1189"/>
                <a:gd name="T13" fmla="*/ 701 h 845"/>
                <a:gd name="T14" fmla="*/ 180 w 1189"/>
                <a:gd name="T15" fmla="*/ 700 h 845"/>
                <a:gd name="T16" fmla="*/ 180 w 1189"/>
                <a:gd name="T17" fmla="*/ 845 h 845"/>
                <a:gd name="T18" fmla="*/ 1189 w 1189"/>
                <a:gd name="T19" fmla="*/ 433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9" h="845">
                  <a:moveTo>
                    <a:pt x="1189" y="433"/>
                  </a:moveTo>
                  <a:cubicBezTo>
                    <a:pt x="756" y="0"/>
                    <a:pt x="756" y="0"/>
                    <a:pt x="756" y="0"/>
                  </a:cubicBezTo>
                  <a:cubicBezTo>
                    <a:pt x="607" y="144"/>
                    <a:pt x="404" y="233"/>
                    <a:pt x="180" y="233"/>
                  </a:cubicBezTo>
                  <a:cubicBezTo>
                    <a:pt x="180" y="378"/>
                    <a:pt x="180" y="378"/>
                    <a:pt x="180" y="378"/>
                  </a:cubicBezTo>
                  <a:cubicBezTo>
                    <a:pt x="174" y="378"/>
                    <a:pt x="168" y="377"/>
                    <a:pt x="162" y="377"/>
                  </a:cubicBezTo>
                  <a:cubicBezTo>
                    <a:pt x="73" y="377"/>
                    <a:pt x="0" y="450"/>
                    <a:pt x="0" y="539"/>
                  </a:cubicBezTo>
                  <a:cubicBezTo>
                    <a:pt x="0" y="629"/>
                    <a:pt x="73" y="701"/>
                    <a:pt x="162" y="701"/>
                  </a:cubicBezTo>
                  <a:cubicBezTo>
                    <a:pt x="168" y="701"/>
                    <a:pt x="174" y="701"/>
                    <a:pt x="180" y="700"/>
                  </a:cubicBezTo>
                  <a:cubicBezTo>
                    <a:pt x="180" y="845"/>
                    <a:pt x="180" y="845"/>
                    <a:pt x="180" y="845"/>
                  </a:cubicBezTo>
                  <a:cubicBezTo>
                    <a:pt x="573" y="845"/>
                    <a:pt x="929" y="688"/>
                    <a:pt x="1189" y="4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$ḷiďé">
              <a:extLst>
                <a:ext uri="{FF2B5EF4-FFF2-40B4-BE49-F238E27FC236}">
                  <a16:creationId xmlns:a16="http://schemas.microsoft.com/office/drawing/2014/main" id="{85E0C05A-7091-46F3-8EEA-58F2CB7ED1A2}"/>
                </a:ext>
              </a:extLst>
            </p:cNvPr>
            <p:cNvSpPr/>
            <p:nvPr/>
          </p:nvSpPr>
          <p:spPr bwMode="auto">
            <a:xfrm>
              <a:off x="6820019" y="3511436"/>
              <a:ext cx="1027959" cy="1223015"/>
            </a:xfrm>
            <a:custGeom>
              <a:avLst/>
              <a:gdLst>
                <a:gd name="T0" fmla="*/ 252 w 864"/>
                <a:gd name="T1" fmla="*/ 0 h 1028"/>
                <a:gd name="T2" fmla="*/ 0 w 864"/>
                <a:gd name="T3" fmla="*/ 595 h 1028"/>
                <a:gd name="T4" fmla="*/ 114 w 864"/>
                <a:gd name="T5" fmla="*/ 708 h 1028"/>
                <a:gd name="T6" fmla="*/ 36 w 864"/>
                <a:gd name="T7" fmla="*/ 846 h 1028"/>
                <a:gd name="T8" fmla="*/ 198 w 864"/>
                <a:gd name="T9" fmla="*/ 1008 h 1028"/>
                <a:gd name="T10" fmla="*/ 336 w 864"/>
                <a:gd name="T11" fmla="*/ 931 h 1028"/>
                <a:gd name="T12" fmla="*/ 433 w 864"/>
                <a:gd name="T13" fmla="*/ 1028 h 1028"/>
                <a:gd name="T14" fmla="*/ 864 w 864"/>
                <a:gd name="T15" fmla="*/ 0 h 1028"/>
                <a:gd name="T16" fmla="*/ 252 w 864"/>
                <a:gd name="T17" fmla="*/ 0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4" h="1028">
                  <a:moveTo>
                    <a:pt x="252" y="0"/>
                  </a:moveTo>
                  <a:cubicBezTo>
                    <a:pt x="252" y="234"/>
                    <a:pt x="156" y="444"/>
                    <a:pt x="0" y="595"/>
                  </a:cubicBezTo>
                  <a:cubicBezTo>
                    <a:pt x="114" y="708"/>
                    <a:pt x="114" y="708"/>
                    <a:pt x="114" y="708"/>
                  </a:cubicBezTo>
                  <a:cubicBezTo>
                    <a:pt x="67" y="736"/>
                    <a:pt x="36" y="788"/>
                    <a:pt x="36" y="846"/>
                  </a:cubicBezTo>
                  <a:cubicBezTo>
                    <a:pt x="36" y="936"/>
                    <a:pt x="109" y="1008"/>
                    <a:pt x="198" y="1008"/>
                  </a:cubicBezTo>
                  <a:cubicBezTo>
                    <a:pt x="257" y="1008"/>
                    <a:pt x="308" y="977"/>
                    <a:pt x="336" y="931"/>
                  </a:cubicBezTo>
                  <a:cubicBezTo>
                    <a:pt x="433" y="1028"/>
                    <a:pt x="433" y="1028"/>
                    <a:pt x="433" y="1028"/>
                  </a:cubicBezTo>
                  <a:cubicBezTo>
                    <a:pt x="699" y="766"/>
                    <a:pt x="864" y="403"/>
                    <a:pt x="864" y="0"/>
                  </a:cubicBezTo>
                  <a:lnTo>
                    <a:pt x="25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Sľïḍè">
              <a:extLst>
                <a:ext uri="{FF2B5EF4-FFF2-40B4-BE49-F238E27FC236}">
                  <a16:creationId xmlns:a16="http://schemas.microsoft.com/office/drawing/2014/main" id="{9CF1A604-37E9-4D11-B709-D545FBE80736}"/>
                </a:ext>
              </a:extLst>
            </p:cNvPr>
            <p:cNvSpPr/>
            <p:nvPr/>
          </p:nvSpPr>
          <p:spPr bwMode="auto">
            <a:xfrm>
              <a:off x="6831542" y="2299942"/>
              <a:ext cx="1016436" cy="1425480"/>
            </a:xfrm>
            <a:custGeom>
              <a:avLst/>
              <a:gdLst>
                <a:gd name="T0" fmla="*/ 854 w 854"/>
                <a:gd name="T1" fmla="*/ 1018 h 1198"/>
                <a:gd name="T2" fmla="*/ 432 w 854"/>
                <a:gd name="T3" fmla="*/ 0 h 1198"/>
                <a:gd name="T4" fmla="*/ 0 w 854"/>
                <a:gd name="T5" fmla="*/ 433 h 1198"/>
                <a:gd name="T6" fmla="*/ 242 w 854"/>
                <a:gd name="T7" fmla="*/ 1018 h 1198"/>
                <a:gd name="T8" fmla="*/ 387 w 854"/>
                <a:gd name="T9" fmla="*/ 1018 h 1198"/>
                <a:gd name="T10" fmla="*/ 386 w 854"/>
                <a:gd name="T11" fmla="*/ 1036 h 1198"/>
                <a:gd name="T12" fmla="*/ 548 w 854"/>
                <a:gd name="T13" fmla="*/ 1198 h 1198"/>
                <a:gd name="T14" fmla="*/ 710 w 854"/>
                <a:gd name="T15" fmla="*/ 1036 h 1198"/>
                <a:gd name="T16" fmla="*/ 709 w 854"/>
                <a:gd name="T17" fmla="*/ 1018 h 1198"/>
                <a:gd name="T18" fmla="*/ 854 w 854"/>
                <a:gd name="T19" fmla="*/ 101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4" h="1198">
                  <a:moveTo>
                    <a:pt x="854" y="1018"/>
                  </a:moveTo>
                  <a:cubicBezTo>
                    <a:pt x="854" y="621"/>
                    <a:pt x="693" y="261"/>
                    <a:pt x="432" y="0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149" y="583"/>
                    <a:pt x="242" y="790"/>
                    <a:pt x="242" y="1018"/>
                  </a:cubicBezTo>
                  <a:cubicBezTo>
                    <a:pt x="387" y="1018"/>
                    <a:pt x="387" y="1018"/>
                    <a:pt x="387" y="1018"/>
                  </a:cubicBezTo>
                  <a:cubicBezTo>
                    <a:pt x="386" y="1024"/>
                    <a:pt x="386" y="1030"/>
                    <a:pt x="386" y="1036"/>
                  </a:cubicBezTo>
                  <a:cubicBezTo>
                    <a:pt x="386" y="1126"/>
                    <a:pt x="459" y="1198"/>
                    <a:pt x="548" y="1198"/>
                  </a:cubicBezTo>
                  <a:cubicBezTo>
                    <a:pt x="638" y="1198"/>
                    <a:pt x="710" y="1126"/>
                    <a:pt x="710" y="1036"/>
                  </a:cubicBezTo>
                  <a:cubicBezTo>
                    <a:pt x="710" y="1030"/>
                    <a:pt x="710" y="1024"/>
                    <a:pt x="709" y="1018"/>
                  </a:cubicBezTo>
                  <a:lnTo>
                    <a:pt x="854" y="101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ṡlïďè">
              <a:extLst>
                <a:ext uri="{FF2B5EF4-FFF2-40B4-BE49-F238E27FC236}">
                  <a16:creationId xmlns:a16="http://schemas.microsoft.com/office/drawing/2014/main" id="{83AC1D11-C9A5-4AAA-BA53-12D14592E62D}"/>
                </a:ext>
              </a:extLst>
            </p:cNvPr>
            <p:cNvSpPr/>
            <p:nvPr/>
          </p:nvSpPr>
          <p:spPr bwMode="auto">
            <a:xfrm>
              <a:off x="6134439" y="1797897"/>
              <a:ext cx="1211493" cy="1017259"/>
            </a:xfrm>
            <a:custGeom>
              <a:avLst/>
              <a:gdLst>
                <a:gd name="T0" fmla="*/ 905 w 1018"/>
                <a:gd name="T1" fmla="*/ 535 h 855"/>
                <a:gd name="T2" fmla="*/ 1018 w 1018"/>
                <a:gd name="T3" fmla="*/ 422 h 855"/>
                <a:gd name="T4" fmla="*/ 0 w 1018"/>
                <a:gd name="T5" fmla="*/ 0 h 855"/>
                <a:gd name="T6" fmla="*/ 0 w 1018"/>
                <a:gd name="T7" fmla="*/ 612 h 855"/>
                <a:gd name="T8" fmla="*/ 586 w 1018"/>
                <a:gd name="T9" fmla="*/ 855 h 855"/>
                <a:gd name="T10" fmla="*/ 679 w 1018"/>
                <a:gd name="T11" fmla="*/ 761 h 855"/>
                <a:gd name="T12" fmla="*/ 810 w 1018"/>
                <a:gd name="T13" fmla="*/ 828 h 855"/>
                <a:gd name="T14" fmla="*/ 972 w 1018"/>
                <a:gd name="T15" fmla="*/ 666 h 855"/>
                <a:gd name="T16" fmla="*/ 905 w 1018"/>
                <a:gd name="T17" fmla="*/ 53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" h="855">
                  <a:moveTo>
                    <a:pt x="905" y="535"/>
                  </a:moveTo>
                  <a:cubicBezTo>
                    <a:pt x="1018" y="422"/>
                    <a:pt x="1018" y="422"/>
                    <a:pt x="1018" y="422"/>
                  </a:cubicBezTo>
                  <a:cubicBezTo>
                    <a:pt x="758" y="162"/>
                    <a:pt x="398" y="0"/>
                    <a:pt x="0" y="0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229" y="612"/>
                    <a:pt x="436" y="705"/>
                    <a:pt x="586" y="855"/>
                  </a:cubicBezTo>
                  <a:cubicBezTo>
                    <a:pt x="679" y="761"/>
                    <a:pt x="679" y="761"/>
                    <a:pt x="679" y="761"/>
                  </a:cubicBezTo>
                  <a:cubicBezTo>
                    <a:pt x="708" y="802"/>
                    <a:pt x="756" y="828"/>
                    <a:pt x="810" y="828"/>
                  </a:cubicBezTo>
                  <a:cubicBezTo>
                    <a:pt x="900" y="828"/>
                    <a:pt x="972" y="756"/>
                    <a:pt x="972" y="666"/>
                  </a:cubicBezTo>
                  <a:cubicBezTo>
                    <a:pt x="972" y="612"/>
                    <a:pt x="946" y="565"/>
                    <a:pt x="905" y="5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ṡ1îdè">
              <a:extLst>
                <a:ext uri="{FF2B5EF4-FFF2-40B4-BE49-F238E27FC236}">
                  <a16:creationId xmlns:a16="http://schemas.microsoft.com/office/drawing/2014/main" id="{D8D0D607-1654-4F5D-B390-CA8AFA9E46A2}"/>
                </a:ext>
              </a:extLst>
            </p:cNvPr>
            <p:cNvSpPr/>
            <p:nvPr/>
          </p:nvSpPr>
          <p:spPr bwMode="auto">
            <a:xfrm>
              <a:off x="5963250" y="1966631"/>
              <a:ext cx="385176" cy="3851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ṧliďè">
              <a:extLst>
                <a:ext uri="{FF2B5EF4-FFF2-40B4-BE49-F238E27FC236}">
                  <a16:creationId xmlns:a16="http://schemas.microsoft.com/office/drawing/2014/main" id="{60121CCA-BBD2-419A-9230-B39E9E12FF87}"/>
                </a:ext>
              </a:extLst>
            </p:cNvPr>
            <p:cNvSpPr/>
            <p:nvPr/>
          </p:nvSpPr>
          <p:spPr>
            <a:xfrm>
              <a:off x="5148525" y="2528698"/>
              <a:ext cx="1983421" cy="1983421"/>
            </a:xfrm>
            <a:prstGeom prst="ellipse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ṥḻîḋê">
              <a:extLst>
                <a:ext uri="{FF2B5EF4-FFF2-40B4-BE49-F238E27FC236}">
                  <a16:creationId xmlns:a16="http://schemas.microsoft.com/office/drawing/2014/main" id="{3B4A5A5A-2284-4604-95AD-04630EB72C28}"/>
                </a:ext>
              </a:extLst>
            </p:cNvPr>
            <p:cNvSpPr/>
            <p:nvPr/>
          </p:nvSpPr>
          <p:spPr bwMode="auto">
            <a:xfrm>
              <a:off x="4779206" y="279040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" name="i$1íḍê">
              <a:extLst>
                <a:ext uri="{FF2B5EF4-FFF2-40B4-BE49-F238E27FC236}">
                  <a16:creationId xmlns:a16="http://schemas.microsoft.com/office/drawing/2014/main" id="{CA191674-E1C3-43FB-AAF3-786D0A45E850}"/>
                </a:ext>
              </a:extLst>
            </p:cNvPr>
            <p:cNvSpPr/>
            <p:nvPr/>
          </p:nvSpPr>
          <p:spPr bwMode="auto">
            <a:xfrm>
              <a:off x="4784555" y="391095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isḻïḍê">
              <a:extLst>
                <a:ext uri="{FF2B5EF4-FFF2-40B4-BE49-F238E27FC236}">
                  <a16:creationId xmlns:a16="http://schemas.microsoft.com/office/drawing/2014/main" id="{A75E8BE0-B794-4212-9FC2-8BFA8C421DCF}"/>
                </a:ext>
              </a:extLst>
            </p:cNvPr>
            <p:cNvSpPr/>
            <p:nvPr/>
          </p:nvSpPr>
          <p:spPr bwMode="auto">
            <a:xfrm>
              <a:off x="5383717" y="4596127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" name="ïśḻîďè">
              <a:extLst>
                <a:ext uri="{FF2B5EF4-FFF2-40B4-BE49-F238E27FC236}">
                  <a16:creationId xmlns:a16="http://schemas.microsoft.com/office/drawing/2014/main" id="{698215B5-40C6-4837-88D4-BEDFCB02774E}"/>
                </a:ext>
              </a:extLst>
            </p:cNvPr>
            <p:cNvSpPr/>
            <p:nvPr/>
          </p:nvSpPr>
          <p:spPr bwMode="auto">
            <a:xfrm>
              <a:off x="1272645" y="1938971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连续存储地元素</a:t>
              </a:r>
              <a:endParaRPr lang="en-US" altLang="zh-CN" dirty="0"/>
            </a:p>
          </p:txBody>
        </p:sp>
        <p:sp>
          <p:nvSpPr>
            <p:cNvPr id="20" name="ïšlíḑe">
              <a:extLst>
                <a:ext uri="{FF2B5EF4-FFF2-40B4-BE49-F238E27FC236}">
                  <a16:creationId xmlns:a16="http://schemas.microsoft.com/office/drawing/2014/main" id="{205CB36D-3CCB-4DF5-B991-5DF98DBD7FA5}"/>
                </a:ext>
              </a:extLst>
            </p:cNvPr>
            <p:cNvSpPr txBox="1"/>
            <p:nvPr/>
          </p:nvSpPr>
          <p:spPr bwMode="auto">
            <a:xfrm>
              <a:off x="1272645" y="1492031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vector</a:t>
              </a:r>
            </a:p>
          </p:txBody>
        </p:sp>
        <p:sp>
          <p:nvSpPr>
            <p:cNvPr id="21" name="íṥ1ïḋê">
              <a:extLst>
                <a:ext uri="{FF2B5EF4-FFF2-40B4-BE49-F238E27FC236}">
                  <a16:creationId xmlns:a16="http://schemas.microsoft.com/office/drawing/2014/main" id="{392CDA33-79C9-45AD-97EF-1617A612FAC5}"/>
                </a:ext>
              </a:extLst>
            </p:cNvPr>
            <p:cNvSpPr/>
            <p:nvPr/>
          </p:nvSpPr>
          <p:spPr bwMode="auto">
            <a:xfrm>
              <a:off x="1185178" y="4955928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后进先出地值地排列</a:t>
              </a:r>
              <a:endParaRPr lang="en-US" altLang="zh-CN" dirty="0"/>
            </a:p>
          </p:txBody>
        </p:sp>
        <p:sp>
          <p:nvSpPr>
            <p:cNvPr id="22" name="íŝ1íḑê">
              <a:extLst>
                <a:ext uri="{FF2B5EF4-FFF2-40B4-BE49-F238E27FC236}">
                  <a16:creationId xmlns:a16="http://schemas.microsoft.com/office/drawing/2014/main" id="{5A9A09A0-DE4F-4825-AA56-DDDF51D08BAE}"/>
                </a:ext>
              </a:extLst>
            </p:cNvPr>
            <p:cNvSpPr/>
            <p:nvPr/>
          </p:nvSpPr>
          <p:spPr bwMode="auto">
            <a:xfrm>
              <a:off x="6482868" y="4601475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3" name="iS1iḍê">
              <a:extLst>
                <a:ext uri="{FF2B5EF4-FFF2-40B4-BE49-F238E27FC236}">
                  <a16:creationId xmlns:a16="http://schemas.microsoft.com/office/drawing/2014/main" id="{D99647AF-2F9D-4684-8422-B0C3174E4907}"/>
                </a:ext>
              </a:extLst>
            </p:cNvPr>
            <p:cNvSpPr/>
            <p:nvPr/>
          </p:nvSpPr>
          <p:spPr bwMode="auto">
            <a:xfrm>
              <a:off x="7189023" y="4002313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" name="îṥľídé">
              <a:extLst>
                <a:ext uri="{FF2B5EF4-FFF2-40B4-BE49-F238E27FC236}">
                  <a16:creationId xmlns:a16="http://schemas.microsoft.com/office/drawing/2014/main" id="{52C55C19-5145-445C-9A9D-79204E0B6CC0}"/>
                </a:ext>
              </a:extLst>
            </p:cNvPr>
            <p:cNvSpPr/>
            <p:nvPr/>
          </p:nvSpPr>
          <p:spPr bwMode="auto">
            <a:xfrm>
              <a:off x="7194785" y="2892053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5" name="îšļíḓè">
              <a:extLst>
                <a:ext uri="{FF2B5EF4-FFF2-40B4-BE49-F238E27FC236}">
                  <a16:creationId xmlns:a16="http://schemas.microsoft.com/office/drawing/2014/main" id="{807BB4A4-EDD7-406D-B0F4-BC20D0B9725D}"/>
                </a:ext>
              </a:extLst>
            </p:cNvPr>
            <p:cNvSpPr/>
            <p:nvPr/>
          </p:nvSpPr>
          <p:spPr bwMode="auto">
            <a:xfrm>
              <a:off x="6595210" y="2185896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" name="ïšļidê">
              <a:extLst>
                <a:ext uri="{FF2B5EF4-FFF2-40B4-BE49-F238E27FC236}">
                  <a16:creationId xmlns:a16="http://schemas.microsoft.com/office/drawing/2014/main" id="{898C4F02-2FB9-4CCD-8F49-C562016B4238}"/>
                </a:ext>
              </a:extLst>
            </p:cNvPr>
            <p:cNvSpPr/>
            <p:nvPr/>
          </p:nvSpPr>
          <p:spPr bwMode="auto">
            <a:xfrm>
              <a:off x="5532154" y="216443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7" name="ïśḻïḍé">
              <a:extLst>
                <a:ext uri="{FF2B5EF4-FFF2-40B4-BE49-F238E27FC236}">
                  <a16:creationId xmlns:a16="http://schemas.microsoft.com/office/drawing/2014/main" id="{0C2B16E1-2016-48C0-96F5-A7EC2833E3DC}"/>
                </a:ext>
              </a:extLst>
            </p:cNvPr>
            <p:cNvSpPr txBox="1"/>
            <p:nvPr/>
          </p:nvSpPr>
          <p:spPr bwMode="auto">
            <a:xfrm>
              <a:off x="1230969" y="4540734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stack</a:t>
              </a:r>
              <a:endParaRPr lang="zh-CN" altLang="en-US" sz="2800" b="1" dirty="0"/>
            </a:p>
          </p:txBody>
        </p:sp>
        <p:sp>
          <p:nvSpPr>
            <p:cNvPr id="29" name="íšļíḓe">
              <a:extLst>
                <a:ext uri="{FF2B5EF4-FFF2-40B4-BE49-F238E27FC236}">
                  <a16:creationId xmlns:a16="http://schemas.microsoft.com/office/drawing/2014/main" id="{1946F6D0-0A3C-4B8F-A078-667A4F60FD51}"/>
                </a:ext>
              </a:extLst>
            </p:cNvPr>
            <p:cNvSpPr txBox="1"/>
            <p:nvPr/>
          </p:nvSpPr>
          <p:spPr bwMode="auto">
            <a:xfrm>
              <a:off x="9097724" y="1555414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 err="1"/>
                <a:t>priority_queue</a:t>
              </a:r>
              <a:endParaRPr lang="zh-CN" altLang="en-US" sz="2800" b="1" dirty="0"/>
            </a:p>
          </p:txBody>
        </p:sp>
        <p:sp>
          <p:nvSpPr>
            <p:cNvPr id="30" name="îšľíḍè">
              <a:extLst>
                <a:ext uri="{FF2B5EF4-FFF2-40B4-BE49-F238E27FC236}">
                  <a16:creationId xmlns:a16="http://schemas.microsoft.com/office/drawing/2014/main" id="{BDD5D5FA-C94D-4090-B7EB-DE09C9BB858D}"/>
                </a:ext>
              </a:extLst>
            </p:cNvPr>
            <p:cNvSpPr/>
            <p:nvPr/>
          </p:nvSpPr>
          <p:spPr bwMode="auto">
            <a:xfrm>
              <a:off x="8339800" y="1688530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íS1ïḑé">
              <a:extLst>
                <a:ext uri="{FF2B5EF4-FFF2-40B4-BE49-F238E27FC236}">
                  <a16:creationId xmlns:a16="http://schemas.microsoft.com/office/drawing/2014/main" id="{93E90B48-5ABA-4F7F-84F5-2EEE6A4B13AB}"/>
                </a:ext>
              </a:extLst>
            </p:cNvPr>
            <p:cNvSpPr/>
            <p:nvPr/>
          </p:nvSpPr>
          <p:spPr bwMode="auto">
            <a:xfrm>
              <a:off x="9101405" y="1938971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元素有次序地队列</a:t>
              </a:r>
              <a:endParaRPr lang="en-US" altLang="zh-CN" dirty="0"/>
            </a:p>
          </p:txBody>
        </p:sp>
        <p:sp>
          <p:nvSpPr>
            <p:cNvPr id="32" name="isḻiḍe">
              <a:extLst>
                <a:ext uri="{FF2B5EF4-FFF2-40B4-BE49-F238E27FC236}">
                  <a16:creationId xmlns:a16="http://schemas.microsoft.com/office/drawing/2014/main" id="{D1BD42C9-27FD-41C7-9A40-76193780632E}"/>
                </a:ext>
              </a:extLst>
            </p:cNvPr>
            <p:cNvSpPr txBox="1"/>
            <p:nvPr/>
          </p:nvSpPr>
          <p:spPr bwMode="auto">
            <a:xfrm>
              <a:off x="9097724" y="3008846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map</a:t>
              </a:r>
              <a:r>
                <a:rPr lang="zh-CN" altLang="en-US" sz="2800" b="1" dirty="0"/>
                <a:t>相关</a:t>
              </a:r>
            </a:p>
          </p:txBody>
        </p:sp>
        <p:sp>
          <p:nvSpPr>
            <p:cNvPr id="33" name="ïṣ1ïḓé">
              <a:extLst>
                <a:ext uri="{FF2B5EF4-FFF2-40B4-BE49-F238E27FC236}">
                  <a16:creationId xmlns:a16="http://schemas.microsoft.com/office/drawing/2014/main" id="{5128D76B-85A1-49C0-A3E0-F2EA50AE21A1}"/>
                </a:ext>
              </a:extLst>
            </p:cNvPr>
            <p:cNvSpPr/>
            <p:nvPr/>
          </p:nvSpPr>
          <p:spPr bwMode="auto">
            <a:xfrm>
              <a:off x="8311118" y="3037277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34" name="ïṡlïdê">
              <a:extLst>
                <a:ext uri="{FF2B5EF4-FFF2-40B4-BE49-F238E27FC236}">
                  <a16:creationId xmlns:a16="http://schemas.microsoft.com/office/drawing/2014/main" id="{36656940-73A2-4FFB-949F-C1E75CD23843}"/>
                </a:ext>
              </a:extLst>
            </p:cNvPr>
            <p:cNvSpPr/>
            <p:nvPr/>
          </p:nvSpPr>
          <p:spPr bwMode="auto">
            <a:xfrm>
              <a:off x="9101405" y="3583577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由</a:t>
              </a:r>
              <a:r>
                <a:rPr lang="en-US" altLang="zh-CN" dirty="0"/>
                <a:t>{</a:t>
              </a:r>
              <a:r>
                <a:rPr lang="zh-CN" altLang="en-US" dirty="0"/>
                <a:t>键</a:t>
              </a:r>
              <a:r>
                <a:rPr lang="en-US" altLang="zh-CN" dirty="0"/>
                <a:t>, </a:t>
              </a:r>
              <a:r>
                <a:rPr lang="zh-CN" altLang="en-US" dirty="0"/>
                <a:t>值</a:t>
              </a:r>
              <a:r>
                <a:rPr lang="en-US" altLang="zh-CN" dirty="0"/>
                <a:t>}</a:t>
              </a:r>
              <a:r>
                <a:rPr lang="zh-CN" altLang="en-US" dirty="0"/>
                <a:t>对组成的集合</a:t>
              </a:r>
              <a:endParaRPr lang="en-US" altLang="zh-CN" dirty="0"/>
            </a:p>
          </p:txBody>
        </p:sp>
        <p:sp>
          <p:nvSpPr>
            <p:cNvPr id="35" name="ïṩ1îḍe">
              <a:extLst>
                <a:ext uri="{FF2B5EF4-FFF2-40B4-BE49-F238E27FC236}">
                  <a16:creationId xmlns:a16="http://schemas.microsoft.com/office/drawing/2014/main" id="{A21CF65A-0107-4443-878D-7CC5AF2A7153}"/>
                </a:ext>
              </a:extLst>
            </p:cNvPr>
            <p:cNvSpPr txBox="1"/>
            <p:nvPr/>
          </p:nvSpPr>
          <p:spPr bwMode="auto">
            <a:xfrm>
              <a:off x="9063652" y="4684975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set</a:t>
              </a:r>
              <a:r>
                <a:rPr lang="zh-CN" altLang="en-US" sz="2800" b="1" dirty="0"/>
                <a:t>相关</a:t>
              </a:r>
            </a:p>
          </p:txBody>
        </p:sp>
        <p:sp>
          <p:nvSpPr>
            <p:cNvPr id="36" name="íṡḻîḑè">
              <a:extLst>
                <a:ext uri="{FF2B5EF4-FFF2-40B4-BE49-F238E27FC236}">
                  <a16:creationId xmlns:a16="http://schemas.microsoft.com/office/drawing/2014/main" id="{12A020C2-CA22-4974-B792-C3C605723CD8}"/>
                </a:ext>
              </a:extLst>
            </p:cNvPr>
            <p:cNvSpPr/>
            <p:nvPr/>
          </p:nvSpPr>
          <p:spPr bwMode="auto">
            <a:xfrm>
              <a:off x="8311118" y="4705370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îş1iďè">
              <a:extLst>
                <a:ext uri="{FF2B5EF4-FFF2-40B4-BE49-F238E27FC236}">
                  <a16:creationId xmlns:a16="http://schemas.microsoft.com/office/drawing/2014/main" id="{0C401AB4-E55B-431C-B621-468A0931AAEC}"/>
                </a:ext>
              </a:extLst>
            </p:cNvPr>
            <p:cNvSpPr/>
            <p:nvPr/>
          </p:nvSpPr>
          <p:spPr bwMode="auto">
            <a:xfrm>
              <a:off x="9063652" y="5067189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有序的集合</a:t>
              </a:r>
              <a:endParaRPr lang="en-US" altLang="zh-CN" dirty="0"/>
            </a:p>
          </p:txBody>
        </p:sp>
        <p:sp>
          <p:nvSpPr>
            <p:cNvPr id="42" name="iṩḻîdé">
              <a:extLst>
                <a:ext uri="{FF2B5EF4-FFF2-40B4-BE49-F238E27FC236}">
                  <a16:creationId xmlns:a16="http://schemas.microsoft.com/office/drawing/2014/main" id="{ACB0CEEF-6885-4D6C-985B-8A84E3A2F7A9}"/>
                </a:ext>
              </a:extLst>
            </p:cNvPr>
            <p:cNvSpPr/>
            <p:nvPr/>
          </p:nvSpPr>
          <p:spPr bwMode="auto">
            <a:xfrm>
              <a:off x="1208323" y="3516757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先进先出地值地排列</a:t>
              </a:r>
              <a:endParaRPr lang="en-US" altLang="zh-CN" dirty="0"/>
            </a:p>
          </p:txBody>
        </p:sp>
        <p:sp>
          <p:nvSpPr>
            <p:cNvPr id="43" name="îşľïḓê">
              <a:extLst>
                <a:ext uri="{FF2B5EF4-FFF2-40B4-BE49-F238E27FC236}">
                  <a16:creationId xmlns:a16="http://schemas.microsoft.com/office/drawing/2014/main" id="{7843E81F-D2E5-4FB1-8C2C-BE53EDC5B222}"/>
                </a:ext>
              </a:extLst>
            </p:cNvPr>
            <p:cNvSpPr txBox="1"/>
            <p:nvPr/>
          </p:nvSpPr>
          <p:spPr bwMode="auto">
            <a:xfrm>
              <a:off x="1272645" y="2992029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queue</a:t>
              </a:r>
              <a:endParaRPr lang="zh-CN" altLang="en-US" sz="2800" b="1" dirty="0"/>
            </a:p>
          </p:txBody>
        </p: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71FE984A-45C8-49B8-9163-DCEFB793376E}"/>
                </a:ext>
              </a:extLst>
            </p:cNvPr>
            <p:cNvCxnSpPr/>
            <p:nvPr/>
          </p:nvCxnSpPr>
          <p:spPr>
            <a:xfrm>
              <a:off x="556689" y="2735977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B5C242E1-193D-4F29-8D50-7BBCFDCC9712}"/>
                </a:ext>
              </a:extLst>
            </p:cNvPr>
            <p:cNvCxnSpPr/>
            <p:nvPr/>
          </p:nvCxnSpPr>
          <p:spPr>
            <a:xfrm>
              <a:off x="597578" y="4278277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8683132C-A86E-4909-B4C7-7511157D9BC6}"/>
                </a:ext>
              </a:extLst>
            </p:cNvPr>
            <p:cNvCxnSpPr/>
            <p:nvPr/>
          </p:nvCxnSpPr>
          <p:spPr>
            <a:xfrm>
              <a:off x="685045" y="5753425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78B396DC-E41B-4EB4-A1EB-6B65D04A3A3B}"/>
                </a:ext>
              </a:extLst>
            </p:cNvPr>
            <p:cNvCxnSpPr/>
            <p:nvPr/>
          </p:nvCxnSpPr>
          <p:spPr>
            <a:xfrm>
              <a:off x="8610599" y="2550239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EA9320C7-0CFA-4F7B-B2DA-3924BB75122D}"/>
                </a:ext>
              </a:extLst>
            </p:cNvPr>
            <p:cNvCxnSpPr/>
            <p:nvPr/>
          </p:nvCxnSpPr>
          <p:spPr>
            <a:xfrm>
              <a:off x="8509041" y="4365688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id="{D62F0B30-EE3A-4CFC-B89B-2A6AC31F16E3}"/>
                </a:ext>
              </a:extLst>
            </p:cNvPr>
            <p:cNvCxnSpPr/>
            <p:nvPr/>
          </p:nvCxnSpPr>
          <p:spPr>
            <a:xfrm>
              <a:off x="8513805" y="5753425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íślïḍè">
              <a:extLst>
                <a:ext uri="{FF2B5EF4-FFF2-40B4-BE49-F238E27FC236}">
                  <a16:creationId xmlns:a16="http://schemas.microsoft.com/office/drawing/2014/main" id="{694DDAEF-9C1B-4F1D-AA44-7068EABE9701}"/>
                </a:ext>
              </a:extLst>
            </p:cNvPr>
            <p:cNvSpPr/>
            <p:nvPr/>
          </p:nvSpPr>
          <p:spPr bwMode="auto">
            <a:xfrm>
              <a:off x="685045" y="1676445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ïṥḻïḍe">
              <a:extLst>
                <a:ext uri="{FF2B5EF4-FFF2-40B4-BE49-F238E27FC236}">
                  <a16:creationId xmlns:a16="http://schemas.microsoft.com/office/drawing/2014/main" id="{098B6671-18C0-442D-B08B-79EF7CD6814B}"/>
                </a:ext>
              </a:extLst>
            </p:cNvPr>
            <p:cNvSpPr/>
            <p:nvPr/>
          </p:nvSpPr>
          <p:spPr bwMode="auto">
            <a:xfrm>
              <a:off x="690250" y="3145208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54" name="íṩḻïḍè">
              <a:extLst>
                <a:ext uri="{FF2B5EF4-FFF2-40B4-BE49-F238E27FC236}">
                  <a16:creationId xmlns:a16="http://schemas.microsoft.com/office/drawing/2014/main" id="{59DF501A-0C6E-4D72-AA4E-EA91C1AC4E6C}"/>
                </a:ext>
              </a:extLst>
            </p:cNvPr>
            <p:cNvSpPr/>
            <p:nvPr/>
          </p:nvSpPr>
          <p:spPr bwMode="auto">
            <a:xfrm>
              <a:off x="666135" y="4687507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  <a:endParaRPr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0638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vecto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9164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queu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7584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ack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8516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riority_queu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7580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de63a4b-d2ab-44ec-9fbf-6e06dc96a8b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1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0000"/>
      </a:accent1>
      <a:accent2>
        <a:srgbClr val="717171"/>
      </a:accent2>
      <a:accent3>
        <a:srgbClr val="594A37"/>
      </a:accent3>
      <a:accent4>
        <a:srgbClr val="7E5D3B"/>
      </a:accent4>
      <a:accent5>
        <a:srgbClr val="70615B"/>
      </a:accent5>
      <a:accent6>
        <a:srgbClr val="2E3744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9</TotalTime>
  <Words>1088</Words>
  <Application>Microsoft Office PowerPoint</Application>
  <PresentationFormat>宽屏</PresentationFormat>
  <Paragraphs>165</Paragraphs>
  <Slides>20</Slides>
  <Notes>4</Notes>
  <HiddenSlides>3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7" baseType="lpstr">
      <vt:lpstr>宋体</vt:lpstr>
      <vt:lpstr>微软雅黑</vt:lpstr>
      <vt:lpstr>Arial</vt:lpstr>
      <vt:lpstr>Calibri</vt:lpstr>
      <vt:lpstr>Impact</vt:lpstr>
      <vt:lpstr>主题5</vt:lpstr>
      <vt:lpstr>think-cell Slide</vt:lpstr>
      <vt:lpstr>STL讲解&amp;&amp;DP入门</vt:lpstr>
      <vt:lpstr>PowerPoint 演示文稿</vt:lpstr>
      <vt:lpstr>Section Header Here</vt:lpstr>
      <vt:lpstr>标准模板库(Standard Template Library)</vt:lpstr>
      <vt:lpstr>PowerPoint 演示文稿</vt:lpstr>
      <vt:lpstr>vector</vt:lpstr>
      <vt:lpstr>queue</vt:lpstr>
      <vt:lpstr>stack</vt:lpstr>
      <vt:lpstr>priority_queue</vt:lpstr>
      <vt:lpstr>map相关</vt:lpstr>
      <vt:lpstr>set相关</vt:lpstr>
      <vt:lpstr>算法&lt;algorithm&gt;</vt:lpstr>
      <vt:lpstr>Section Header Here</vt:lpstr>
      <vt:lpstr>Use "Title Only" Layout</vt:lpstr>
      <vt:lpstr>Use "Title Only" Layout</vt:lpstr>
      <vt:lpstr>Use "Title Only" Layout</vt:lpstr>
      <vt:lpstr>Thanks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i Cwolf</cp:lastModifiedBy>
  <cp:revision>17</cp:revision>
  <cp:lastPrinted>2018-09-03T16:00:00Z</cp:lastPrinted>
  <dcterms:created xsi:type="dcterms:W3CDTF">2018-09-03T16:00:00Z</dcterms:created>
  <dcterms:modified xsi:type="dcterms:W3CDTF">2018-11-09T02:4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